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1" r:id="rId2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0FF00"/>
    <a:srgbClr val="CC33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15" autoAdjust="0"/>
    <p:restoredTop sz="95699" autoAdjust="0"/>
  </p:normalViewPr>
  <p:slideViewPr>
    <p:cSldViewPr>
      <p:cViewPr>
        <p:scale>
          <a:sx n="70" d="100"/>
          <a:sy n="70" d="100"/>
        </p:scale>
        <p:origin x="-258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DE504-2031-42B9-85D6-48F0CE418677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09DD68-6293-4A1D-B807-B068CFB24E87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09DD68-6293-4A1D-B807-B068CFB24E87}" type="slidenum">
              <a:rPr lang="pt-BR" smtClean="0"/>
              <a:pPr/>
              <a:t>1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B4A91-5D6B-4CDC-A00D-9774C5B3A345}" type="datetimeFigureOut">
              <a:rPr lang="pt-BR" smtClean="0"/>
              <a:pPr/>
              <a:t>23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7EB64E-2025-44D1-8DE0-F212AB441D0B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/>
          <p:nvPr/>
        </p:nvGrpSpPr>
        <p:grpSpPr>
          <a:xfrm>
            <a:off x="7575560" y="6302648"/>
            <a:ext cx="1512168" cy="504056"/>
            <a:chOff x="6156176" y="1124744"/>
            <a:chExt cx="1512168" cy="504056"/>
          </a:xfrm>
        </p:grpSpPr>
        <p:sp>
          <p:nvSpPr>
            <p:cNvPr id="8" name="Retângulo 7"/>
            <p:cNvSpPr/>
            <p:nvPr/>
          </p:nvSpPr>
          <p:spPr>
            <a:xfrm>
              <a:off x="6358132" y="1165280"/>
              <a:ext cx="1196353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2400" b="1" cap="none" spc="0" dirty="0" smtClean="0">
                  <a:ln w="31550" cmpd="sng">
                    <a:gradFill>
                      <a:gsLst>
                        <a:gs pos="25000">
                          <a:schemeClr val="accent1">
                            <a:shade val="25000"/>
                            <a:satMod val="190000"/>
                          </a:schemeClr>
                        </a:gs>
                        <a:gs pos="80000">
                          <a:schemeClr val="accent1">
                            <a:tint val="75000"/>
                            <a:satMod val="190000"/>
                          </a:schemeClr>
                        </a:gs>
                      </a:gsLst>
                      <a:lin ang="5400000"/>
                    </a:gradFill>
                    <a:prstDash val="solid"/>
                  </a:ln>
                  <a:solidFill>
                    <a:srgbClr val="FFFFFF"/>
                  </a:solidFill>
                  <a:effectLst>
                    <a:outerShdw blurRad="41275" dist="12700" dir="12000000" algn="tl" rotWithShape="0">
                      <a:srgbClr val="000000">
                        <a:alpha val="40000"/>
                      </a:srgbClr>
                    </a:outerShdw>
                  </a:effectLst>
                </a:rPr>
                <a:t>SEESMT</a:t>
              </a:r>
              <a:endParaRPr lang="pt-BR" sz="2400" b="1" cap="none" spc="0" dirty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9" name="Elipse 8"/>
            <p:cNvSpPr/>
            <p:nvPr/>
          </p:nvSpPr>
          <p:spPr>
            <a:xfrm>
              <a:off x="6156176" y="1124744"/>
              <a:ext cx="1512168" cy="504056"/>
            </a:xfrm>
            <a:prstGeom prst="ellipse">
              <a:avLst/>
            </a:prstGeom>
            <a:noFill/>
            <a:ln w="9525">
              <a:solidFill>
                <a:srgbClr val="0033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54" name="Conector reto 53"/>
          <p:cNvCxnSpPr/>
          <p:nvPr/>
        </p:nvCxnSpPr>
        <p:spPr bwMode="auto">
          <a:xfrm>
            <a:off x="600512" y="608464"/>
            <a:ext cx="8352000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etângulo 52"/>
          <p:cNvSpPr/>
          <p:nvPr/>
        </p:nvSpPr>
        <p:spPr>
          <a:xfrm rot="5400000">
            <a:off x="-3212402" y="3212402"/>
            <a:ext cx="6861856" cy="437052"/>
          </a:xfrm>
          <a:prstGeom prst="rect">
            <a:avLst/>
          </a:prstGeom>
          <a:gradFill flip="none" rotWithShape="1">
            <a:gsLst>
              <a:gs pos="0">
                <a:srgbClr val="0000FF"/>
              </a:gs>
              <a:gs pos="100000">
                <a:schemeClr val="bg1"/>
              </a:gs>
              <a:gs pos="0">
                <a:srgbClr val="0000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CaixaDeTexto 57"/>
          <p:cNvSpPr txBox="1"/>
          <p:nvPr/>
        </p:nvSpPr>
        <p:spPr>
          <a:xfrm>
            <a:off x="528248" y="18168"/>
            <a:ext cx="4057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latin typeface="Arial" pitchFamily="34" charset="0"/>
                <a:cs typeface="Arial" pitchFamily="34" charset="0"/>
              </a:rPr>
              <a:t>População - HGG</a:t>
            </a:r>
            <a:endParaRPr lang="pt-BR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 l="22634" r="18516"/>
          <a:stretch>
            <a:fillRect/>
          </a:stretch>
        </p:blipFill>
        <p:spPr bwMode="auto">
          <a:xfrm>
            <a:off x="3828129" y="2122008"/>
            <a:ext cx="2673515" cy="2856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 cstate="print"/>
          <a:srcRect l="24898" r="16253"/>
          <a:stretch>
            <a:fillRect/>
          </a:stretch>
        </p:blipFill>
        <p:spPr bwMode="auto">
          <a:xfrm>
            <a:off x="350556" y="2101792"/>
            <a:ext cx="2664296" cy="2846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 cstate="print"/>
          <a:srcRect l="24898" r="23043"/>
          <a:stretch>
            <a:fillRect/>
          </a:stretch>
        </p:blipFill>
        <p:spPr bwMode="auto">
          <a:xfrm>
            <a:off x="7092280" y="3717032"/>
            <a:ext cx="1656184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7" cstate="print"/>
          <a:srcRect l="21948" r="24401"/>
          <a:stretch>
            <a:fillRect/>
          </a:stretch>
        </p:blipFill>
        <p:spPr bwMode="auto">
          <a:xfrm>
            <a:off x="7092280" y="1196752"/>
            <a:ext cx="1584176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9" name="Triângulo isósceles 58"/>
          <p:cNvSpPr/>
          <p:nvPr/>
        </p:nvSpPr>
        <p:spPr>
          <a:xfrm rot="5400000">
            <a:off x="2257056" y="3437308"/>
            <a:ext cx="2198128" cy="216024"/>
          </a:xfrm>
          <a:prstGeom prst="triangle">
            <a:avLst/>
          </a:prstGeom>
          <a:solidFill>
            <a:srgbClr val="FF0000"/>
          </a:solidFill>
          <a:ln>
            <a:solidFill>
              <a:schemeClr val="tx2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1" name="Triângulo isósceles 60"/>
          <p:cNvSpPr/>
          <p:nvPr/>
        </p:nvSpPr>
        <p:spPr>
          <a:xfrm rot="5400000">
            <a:off x="5152440" y="3521080"/>
            <a:ext cx="3231608" cy="216024"/>
          </a:xfrm>
          <a:prstGeom prst="triangle">
            <a:avLst/>
          </a:prstGeom>
          <a:solidFill>
            <a:srgbClr val="FF0000"/>
          </a:solidFill>
          <a:ln>
            <a:solidFill>
              <a:schemeClr val="tx2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3" name="AutoShape 2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782120"/>
            <a:ext cx="4623007" cy="341372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043F52"/>
            </a:solidFill>
            <a:round/>
            <a:headEnd/>
            <a:tailEnd/>
          </a:ln>
        </p:spPr>
        <p:txBody>
          <a:bodyPr wrap="none" lIns="72000" tIns="46800" rIns="72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pt-BR" sz="1200" b="1" kern="0" dirty="0" smtClean="0">
                <a:solidFill>
                  <a:srgbClr val="043F52"/>
                </a:solidFill>
                <a:latin typeface="Trebuchet MS" pitchFamily="34" charset="0"/>
              </a:rPr>
              <a:t>     </a:t>
            </a:r>
            <a:r>
              <a:rPr lang="pt-BR" sz="2000" b="1" kern="0" dirty="0" smtClean="0">
                <a:solidFill>
                  <a:srgbClr val="043F52"/>
                </a:solidFill>
                <a:latin typeface="Trebuchet MS" pitchFamily="34" charset="0"/>
              </a:rPr>
              <a:t>Cenário</a:t>
            </a:r>
            <a:endParaRPr lang="pt-BR" sz="1200" b="1" kern="0" dirty="0" smtClean="0">
              <a:solidFill>
                <a:srgbClr val="043F52"/>
              </a:solidFill>
              <a:latin typeface="Trebuchet MS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7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4RAIKD2UWWms0cT61kU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0</TotalTime>
  <Words>7</Words>
  <Application>Microsoft Office PowerPoint</Application>
  <PresentationFormat>Apresentação na tela (4:3)</PresentationFormat>
  <Paragraphs>4</Paragraphs>
  <Slides>1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2" baseType="lpstr">
      <vt:lpstr>Tema do Office</vt:lpstr>
      <vt:lpstr>Slide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GG</dc:creator>
  <cp:lastModifiedBy>FDE</cp:lastModifiedBy>
  <cp:revision>337</cp:revision>
  <dcterms:created xsi:type="dcterms:W3CDTF">2014-01-08T10:20:09Z</dcterms:created>
  <dcterms:modified xsi:type="dcterms:W3CDTF">2015-09-23T11:03:41Z</dcterms:modified>
</cp:coreProperties>
</file>